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44" d="100"/>
          <a:sy n="44" d="100"/>
        </p:scale>
        <p:origin x="696" y="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010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Defining levels of availability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8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Defining levels of availability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fining levels of availability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01T05:02:34Z</dcterms:created>
  <dcterms:modified xsi:type="dcterms:W3CDTF">2021-02-01T05:03:0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